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  <p:sldMasterId id="2147483958" r:id="rId2"/>
    <p:sldMasterId id="2147483676" r:id="rId3"/>
  </p:sldMasterIdLst>
  <p:notesMasterIdLst>
    <p:notesMasterId r:id="rId5"/>
  </p:notesMasterIdLst>
  <p:handoutMasterIdLst>
    <p:handoutMasterId r:id="rId6"/>
  </p:handoutMasterIdLst>
  <p:sldIdLst>
    <p:sldId id="2142532021" r:id="rId4"/>
  </p:sldIdLst>
  <p:sldSz cx="12188825" cy="6858000"/>
  <p:notesSz cx="6858000" cy="9144000"/>
  <p:defaultTextStyle>
    <a:defPPr>
      <a:defRPr lang="en-US"/>
    </a:defPPr>
    <a:lvl1pPr marL="0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1pPr>
    <a:lvl2pPr marL="544106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2pPr>
    <a:lvl3pPr marL="1088212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3pPr>
    <a:lvl4pPr marL="1632319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4pPr>
    <a:lvl5pPr marL="2176425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5pPr>
    <a:lvl6pPr marL="2720531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6pPr>
    <a:lvl7pPr marL="3264636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7pPr>
    <a:lvl8pPr marL="3808742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8pPr>
    <a:lvl9pPr marL="4352849" algn="l" defTabSz="544106" rtl="0" eaLnBrk="1" latinLnBrk="0" hangingPunct="1">
      <a:defRPr sz="216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97" userDrawn="1">
          <p15:clr>
            <a:srgbClr val="A4A3A4"/>
          </p15:clr>
        </p15:guide>
        <p15:guide id="2" pos="37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69A7"/>
    <a:srgbClr val="225F98"/>
    <a:srgbClr val="2E90BF"/>
    <a:srgbClr val="2C74AD"/>
    <a:srgbClr val="474C49"/>
    <a:srgbClr val="71B8D5"/>
    <a:srgbClr val="31A0CB"/>
    <a:srgbClr val="A7B4B8"/>
    <a:srgbClr val="2B3153"/>
    <a:srgbClr val="DEDFD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12B04E-2C4C-4820-AEB5-121C76DA190A}" v="2" dt="2023-11-09T23:25:32.0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70" autoAdjust="0"/>
    <p:restoredTop sz="93031" autoAdjust="0"/>
  </p:normalViewPr>
  <p:slideViewPr>
    <p:cSldViewPr snapToGrid="0">
      <p:cViewPr varScale="1">
        <p:scale>
          <a:sx n="69" d="100"/>
          <a:sy n="69" d="100"/>
        </p:scale>
        <p:origin x="336" y="48"/>
      </p:cViewPr>
      <p:guideLst>
        <p:guide orient="horz" pos="2397"/>
        <p:guide pos="379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2640" y="-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microsoft.com/office/2016/11/relationships/changesInfo" Target="changesInfos/changesInfo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i Chang" userId="e1e3e079-3665-43ca-b5a8-c26e86dbacee" providerId="ADAL" clId="{7A12B04E-2C4C-4820-AEB5-121C76DA190A}"/>
    <pc:docChg chg="custSel delSld modSld delMainMaster">
      <pc:chgData name="Xi Chang" userId="e1e3e079-3665-43ca-b5a8-c26e86dbacee" providerId="ADAL" clId="{7A12B04E-2C4C-4820-AEB5-121C76DA190A}" dt="2023-11-09T23:25:44.675" v="4" actId="207"/>
      <pc:docMkLst>
        <pc:docMk/>
      </pc:docMkLst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264031304" sldId="2142531989"/>
        </pc:sldMkLst>
      </pc:sldChg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3502124970" sldId="2142531992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554223734" sldId="2142531995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2616602427" sldId="2142531996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4202916828" sldId="2142531999"/>
        </pc:sldMkLst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2391632019" sldId="2142532000"/>
        </pc:sldMkLst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469491774" sldId="2142532001"/>
        </pc:sldMkLst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559651162" sldId="2142532002"/>
        </pc:sldMkLst>
      </pc:sldChg>
      <pc:sldChg chg="del">
        <pc:chgData name="Xi Chang" userId="e1e3e079-3665-43ca-b5a8-c26e86dbacee" providerId="ADAL" clId="{7A12B04E-2C4C-4820-AEB5-121C76DA190A}" dt="2023-10-30T00:55:05.528" v="3" actId="47"/>
        <pc:sldMkLst>
          <pc:docMk/>
          <pc:sldMk cId="1013814652" sldId="2142532006"/>
        </pc:sldMkLst>
      </pc:sldChg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2459751317" sldId="2142532009"/>
        </pc:sldMkLst>
      </pc:sldChg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4141629096" sldId="2142532011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2214226693" sldId="2142532014"/>
        </pc:sldMkLst>
      </pc:sldChg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2517719843" sldId="2142532015"/>
        </pc:sldMkLst>
      </pc:sldChg>
      <pc:sldChg chg="del">
        <pc:chgData name="Xi Chang" userId="e1e3e079-3665-43ca-b5a8-c26e86dbacee" providerId="ADAL" clId="{7A12B04E-2C4C-4820-AEB5-121C76DA190A}" dt="2023-10-30T00:54:54.010" v="0" actId="47"/>
        <pc:sldMkLst>
          <pc:docMk/>
          <pc:sldMk cId="1853527876" sldId="2142532016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2992692778" sldId="2142532017"/>
        </pc:sldMkLst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3513104579" sldId="2142532018"/>
        </pc:sldMkLst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3942671099" sldId="2142532019"/>
        </pc:sldMkLst>
      </pc:sldChg>
      <pc:sldChg chg="del">
        <pc:chgData name="Xi Chang" userId="e1e3e079-3665-43ca-b5a8-c26e86dbacee" providerId="ADAL" clId="{7A12B04E-2C4C-4820-AEB5-121C76DA190A}" dt="2023-10-30T00:54:57.893" v="1" actId="47"/>
        <pc:sldMkLst>
          <pc:docMk/>
          <pc:sldMk cId="3613272599" sldId="2142532020"/>
        </pc:sldMkLst>
      </pc:sldChg>
      <pc:sldChg chg="modSp mod">
        <pc:chgData name="Xi Chang" userId="e1e3e079-3665-43ca-b5a8-c26e86dbacee" providerId="ADAL" clId="{7A12B04E-2C4C-4820-AEB5-121C76DA190A}" dt="2023-11-09T23:25:44.675" v="4" actId="207"/>
        <pc:sldMkLst>
          <pc:docMk/>
          <pc:sldMk cId="3951622720" sldId="2142532021"/>
        </pc:sldMkLst>
        <pc:graphicFrameChg chg="modGraphic">
          <ac:chgData name="Xi Chang" userId="e1e3e079-3665-43ca-b5a8-c26e86dbacee" providerId="ADAL" clId="{7A12B04E-2C4C-4820-AEB5-121C76DA190A}" dt="2023-11-09T23:25:44.675" v="4" actId="207"/>
          <ac:graphicFrameMkLst>
            <pc:docMk/>
            <pc:sldMk cId="3951622720" sldId="2142532021"/>
            <ac:graphicFrameMk id="3" creationId="{163230B7-72A3-D045-ECD7-31609AC08BD0}"/>
          </ac:graphicFrameMkLst>
        </pc:graphicFrameChg>
      </pc:sldChg>
      <pc:sldChg chg="del">
        <pc:chgData name="Xi Chang" userId="e1e3e079-3665-43ca-b5a8-c26e86dbacee" providerId="ADAL" clId="{7A12B04E-2C4C-4820-AEB5-121C76DA190A}" dt="2023-10-30T00:55:03.290" v="2" actId="47"/>
        <pc:sldMkLst>
          <pc:docMk/>
          <pc:sldMk cId="853111475" sldId="2142532024"/>
        </pc:sldMkLst>
      </pc:sldChg>
      <pc:sldMasterChg chg="del delSldLayout">
        <pc:chgData name="Xi Chang" userId="e1e3e079-3665-43ca-b5a8-c26e86dbacee" providerId="ADAL" clId="{7A12B04E-2C4C-4820-AEB5-121C76DA190A}" dt="2023-10-30T00:55:05.528" v="3" actId="47"/>
        <pc:sldMasterMkLst>
          <pc:docMk/>
          <pc:sldMasterMk cId="2836205240" sldId="2147483648"/>
        </pc:sldMasterMkLst>
        <pc:sldLayoutChg chg="del">
          <pc:chgData name="Xi Chang" userId="e1e3e079-3665-43ca-b5a8-c26e86dbacee" providerId="ADAL" clId="{7A12B04E-2C4C-4820-AEB5-121C76DA190A}" dt="2023-10-30T00:55:05.528" v="3" actId="47"/>
          <pc:sldLayoutMkLst>
            <pc:docMk/>
            <pc:sldMasterMk cId="2836205240" sldId="2147483648"/>
            <pc:sldLayoutMk cId="615007517" sldId="2147483649"/>
          </pc:sldLayoutMkLst>
        </pc:sldLayoutChg>
        <pc:sldLayoutChg chg="del">
          <pc:chgData name="Xi Chang" userId="e1e3e079-3665-43ca-b5a8-c26e86dbacee" providerId="ADAL" clId="{7A12B04E-2C4C-4820-AEB5-121C76DA190A}" dt="2023-10-30T00:55:05.528" v="3" actId="47"/>
          <pc:sldLayoutMkLst>
            <pc:docMk/>
            <pc:sldMasterMk cId="2836205240" sldId="2147483648"/>
            <pc:sldLayoutMk cId="2115363988" sldId="2147483669"/>
          </pc:sldLayoutMkLst>
        </pc:sldLayoutChg>
      </pc:sldMasterChg>
      <pc:sldMasterChg chg="del delSldLayout">
        <pc:chgData name="Xi Chang" userId="e1e3e079-3665-43ca-b5a8-c26e86dbacee" providerId="ADAL" clId="{7A12B04E-2C4C-4820-AEB5-121C76DA190A}" dt="2023-10-30T00:54:54.010" v="0" actId="47"/>
        <pc:sldMasterMkLst>
          <pc:docMk/>
          <pc:sldMasterMk cId="1038245368" sldId="2147483660"/>
        </pc:sldMasterMkLst>
        <pc:sldLayoutChg chg="del">
          <pc:chgData name="Xi Chang" userId="e1e3e079-3665-43ca-b5a8-c26e86dbacee" providerId="ADAL" clId="{7A12B04E-2C4C-4820-AEB5-121C76DA190A}" dt="2023-10-30T00:54:54.010" v="0" actId="47"/>
          <pc:sldLayoutMkLst>
            <pc:docMk/>
            <pc:sldMasterMk cId="1038245368" sldId="2147483660"/>
            <pc:sldLayoutMk cId="3862366798" sldId="2147483666"/>
          </pc:sldLayoutMkLst>
        </pc:sldLayoutChg>
      </pc:sldMasterChg>
      <pc:sldMasterChg chg="del delSldLayout">
        <pc:chgData name="Xi Chang" userId="e1e3e079-3665-43ca-b5a8-c26e86dbacee" providerId="ADAL" clId="{7A12B04E-2C4C-4820-AEB5-121C76DA190A}" dt="2023-10-30T00:54:57.893" v="1" actId="47"/>
        <pc:sldMasterMkLst>
          <pc:docMk/>
          <pc:sldMasterMk cId="657192340" sldId="2147483842"/>
        </pc:sldMasterMkLst>
        <pc:sldLayoutChg chg="del">
          <pc:chgData name="Xi Chang" userId="e1e3e079-3665-43ca-b5a8-c26e86dbacee" providerId="ADAL" clId="{7A12B04E-2C4C-4820-AEB5-121C76DA190A}" dt="2023-10-30T00:54:57.893" v="1" actId="47"/>
          <pc:sldLayoutMkLst>
            <pc:docMk/>
            <pc:sldMasterMk cId="657192340" sldId="2147483842"/>
            <pc:sldLayoutMk cId="3975756990" sldId="2147483865"/>
          </pc:sldLayoutMkLst>
        </pc:sldLayoutChg>
      </pc:sldMasterChg>
      <pc:sldMasterChg chg="del delSldLayout">
        <pc:chgData name="Xi Chang" userId="e1e3e079-3665-43ca-b5a8-c26e86dbacee" providerId="ADAL" clId="{7A12B04E-2C4C-4820-AEB5-121C76DA190A}" dt="2023-10-30T00:54:54.010" v="0" actId="47"/>
        <pc:sldMasterMkLst>
          <pc:docMk/>
          <pc:sldMasterMk cId="2836205240" sldId="2147483959"/>
        </pc:sldMasterMkLst>
        <pc:sldLayoutChg chg="del">
          <pc:chgData name="Xi Chang" userId="e1e3e079-3665-43ca-b5a8-c26e86dbacee" providerId="ADAL" clId="{7A12B04E-2C4C-4820-AEB5-121C76DA190A}" dt="2023-10-30T00:54:54.010" v="0" actId="47"/>
          <pc:sldLayoutMkLst>
            <pc:docMk/>
            <pc:sldMasterMk cId="2836205240" sldId="2147483959"/>
            <pc:sldLayoutMk cId="615007517" sldId="21474839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C070F-4FE0-4DF6-BAC1-199D0BDBB3C6}" type="datetimeFigureOut">
              <a:rPr lang="en-US" smtClean="0"/>
              <a:t>11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E3958B-02D8-4820-8953-70FBF2218C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4388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A278A-9E3A-7947-8175-7725DBD85234}" type="datetimeFigureOut">
              <a:rPr lang="en-US" smtClean="0"/>
              <a:t>11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9A3251-8020-C54C-B8B0-166F348C2B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7800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1pPr>
    <a:lvl2pPr marL="544106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2pPr>
    <a:lvl3pPr marL="1088212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3pPr>
    <a:lvl4pPr marL="1632319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4pPr>
    <a:lvl5pPr marL="2176425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5pPr>
    <a:lvl6pPr marL="2720531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6pPr>
    <a:lvl7pPr marL="3264636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7pPr>
    <a:lvl8pPr marL="3808742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8pPr>
    <a:lvl9pPr marL="4352849" algn="l" defTabSz="544106" rtl="0" eaLnBrk="1" latinLnBrk="0" hangingPunct="1">
      <a:defRPr sz="14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0EB13-9960-4021-B110-68B599621A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0825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24C5FC-85CD-FB40-94E6-102DF12D0F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0825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907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EAF63-477B-9212-7234-0E8118F55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0825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C27546-C852-344C-6E8E-4D1CE7654E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0825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8291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110CED-82EA-E46C-4944-44A2A68E9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BC91B-6322-48E3-85F0-015313269F55}" type="datetimeFigureOut">
              <a:rPr lang="en-GB" smtClean="0">
                <a:solidFill>
                  <a:srgbClr val="021B41">
                    <a:tint val="75000"/>
                  </a:srgbClr>
                </a:solidFill>
              </a:rPr>
              <a:pPr/>
              <a:t>09/11/2023</a:t>
            </a:fld>
            <a:endParaRPr lang="en-GB">
              <a:solidFill>
                <a:srgbClr val="021B41">
                  <a:tint val="75000"/>
                </a:srgb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6C6AC7-492E-8A73-0215-9E7A29D3A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21B41">
                  <a:tint val="75000"/>
                </a:srgb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66B2BB-12C0-C53F-4002-9DA969025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C571-A94A-434E-9F91-D150001CF1C8}" type="slidenum">
              <a:rPr lang="en-GB" smtClean="0">
                <a:solidFill>
                  <a:srgbClr val="021B41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21B4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86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8A19B20D-D1CD-DF54-4DA3-23B4DF3013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9" name="Rectangle">
            <a:extLst>
              <a:ext uri="{FF2B5EF4-FFF2-40B4-BE49-F238E27FC236}">
                <a16:creationId xmlns:a16="http://schemas.microsoft.com/office/drawing/2014/main" id="{1F0B88C1-609E-4D6E-EE2E-7F842FB704A0}"/>
              </a:ext>
            </a:extLst>
          </p:cNvPr>
          <p:cNvSpPr/>
          <p:nvPr userDrawn="1"/>
        </p:nvSpPr>
        <p:spPr>
          <a:xfrm>
            <a:off x="0" y="0"/>
            <a:ext cx="12196489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3000"/>
                  <a:lumOff val="17000"/>
                  <a:alpha val="80000"/>
                </a:schemeClr>
              </a:gs>
              <a:gs pos="63000">
                <a:schemeClr val="bg1">
                  <a:lumMod val="99000"/>
                  <a:lumOff val="1000"/>
                  <a:alpha val="70000"/>
                </a:schemeClr>
              </a:gs>
              <a:gs pos="86000">
                <a:schemeClr val="bg1">
                  <a:alpha val="0"/>
                </a:schemeClr>
              </a:gs>
            </a:gsLst>
            <a:lin ang="19800000" scaled="0"/>
            <a:tileRect/>
          </a:gradFill>
          <a:ln w="12700">
            <a:miter lim="400000"/>
          </a:ln>
        </p:spPr>
        <p:txBody>
          <a:bodyPr lIns="50787" tIns="50787" rIns="50787" bIns="50787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5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0F67A3EE-AFE5-5873-8197-FE86027FE6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2590" y="6394710"/>
            <a:ext cx="518354" cy="232790"/>
          </a:xfrm>
          <a:prstGeom prst="rect">
            <a:avLst/>
          </a:prstGeom>
        </p:spPr>
      </p:pic>
      <p:sp>
        <p:nvSpPr>
          <p:cNvPr id="11" name="TextBox 5">
            <a:extLst>
              <a:ext uri="{FF2B5EF4-FFF2-40B4-BE49-F238E27FC236}">
                <a16:creationId xmlns:a16="http://schemas.microsoft.com/office/drawing/2014/main" id="{EB49EE33-7CC1-9B30-3D8D-45EAD8AF2B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68638" y="6394710"/>
            <a:ext cx="3672570" cy="162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050" noProof="0">
                <a:solidFill>
                  <a:schemeClr val="bg1">
                    <a:lumMod val="50000"/>
                  </a:schemeClr>
                </a:solidFill>
                <a:latin typeface="Iberia Text" charset="0"/>
                <a:ea typeface="Iberia Text" charset="0"/>
                <a:cs typeface="Iberia Text" charset="0"/>
              </a:rPr>
              <a:t>Network Summary</a:t>
            </a:r>
            <a:endParaRPr lang="es-ES" sz="1050" noProof="0">
              <a:solidFill>
                <a:schemeClr val="tx2"/>
              </a:solidFill>
              <a:latin typeface="Iberia Text" charset="0"/>
              <a:ea typeface="Iberia Text" charset="0"/>
              <a:cs typeface="Iberia Text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3FB0E2E7-353E-CF23-DB14-E2977650D6C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07882" y="6394711"/>
            <a:ext cx="24827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1C7195E9-957A-4842-9BE3-773A11A4BDF6}" type="slidenum">
              <a:rPr lang="es-ES" sz="1050" b="1" noProof="0" smtClean="0">
                <a:solidFill>
                  <a:schemeClr val="tx2"/>
                </a:solidFill>
                <a:latin typeface="Iberia Text" charset="0"/>
                <a:ea typeface="Iberia Text" charset="0"/>
                <a:cs typeface="Iberia Text" charset="0"/>
              </a:rPr>
              <a:pPr/>
              <a:t>‹#›</a:t>
            </a:fld>
            <a:r>
              <a:rPr lang="es-ES" sz="1050" noProof="0">
                <a:solidFill>
                  <a:schemeClr val="tx2"/>
                </a:solidFill>
                <a:latin typeface="Iberia Text" charset="0"/>
                <a:ea typeface="Iberia Text" charset="0"/>
                <a:cs typeface="Iberia Text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90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8A19B20D-D1CD-DF54-4DA3-23B4DF3013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9" name="Rectangle">
            <a:extLst>
              <a:ext uri="{FF2B5EF4-FFF2-40B4-BE49-F238E27FC236}">
                <a16:creationId xmlns:a16="http://schemas.microsoft.com/office/drawing/2014/main" id="{1F0B88C1-609E-4D6E-EE2E-7F842FB704A0}"/>
              </a:ext>
            </a:extLst>
          </p:cNvPr>
          <p:cNvSpPr/>
          <p:nvPr userDrawn="1"/>
        </p:nvSpPr>
        <p:spPr>
          <a:xfrm>
            <a:off x="0" y="0"/>
            <a:ext cx="12196489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3000"/>
                  <a:lumOff val="17000"/>
                  <a:alpha val="80000"/>
                </a:schemeClr>
              </a:gs>
              <a:gs pos="63000">
                <a:schemeClr val="bg1">
                  <a:lumMod val="99000"/>
                  <a:lumOff val="1000"/>
                  <a:alpha val="70000"/>
                </a:schemeClr>
              </a:gs>
              <a:gs pos="86000">
                <a:schemeClr val="bg1">
                  <a:alpha val="0"/>
                </a:schemeClr>
              </a:gs>
            </a:gsLst>
            <a:lin ang="19800000" scaled="0"/>
            <a:tileRect/>
          </a:gradFill>
          <a:ln w="12700">
            <a:miter lim="400000"/>
          </a:ln>
        </p:spPr>
        <p:txBody>
          <a:bodyPr lIns="50787" tIns="50787" rIns="50787" bIns="50787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cap="none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5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0F67A3EE-AFE5-5873-8197-FE86027FE6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2590" y="6394710"/>
            <a:ext cx="518354" cy="232790"/>
          </a:xfrm>
          <a:prstGeom prst="rect">
            <a:avLst/>
          </a:prstGeom>
        </p:spPr>
      </p:pic>
      <p:sp>
        <p:nvSpPr>
          <p:cNvPr id="11" name="TextBox 5">
            <a:extLst>
              <a:ext uri="{FF2B5EF4-FFF2-40B4-BE49-F238E27FC236}">
                <a16:creationId xmlns:a16="http://schemas.microsoft.com/office/drawing/2014/main" id="{EB49EE33-7CC1-9B30-3D8D-45EAD8AF2B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68638" y="6394710"/>
            <a:ext cx="3672570" cy="162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1050" noProof="0" dirty="0">
                <a:solidFill>
                  <a:schemeClr val="bg1">
                    <a:lumMod val="50000"/>
                  </a:schemeClr>
                </a:solidFill>
                <a:latin typeface="Iberia Text" charset="0"/>
                <a:ea typeface="Iberia Text" charset="0"/>
                <a:cs typeface="Iberia Text" charset="0"/>
              </a:rPr>
              <a:t>Network Summary</a:t>
            </a:r>
            <a:endParaRPr lang="es-ES" sz="1050" noProof="0" dirty="0">
              <a:solidFill>
                <a:schemeClr val="tx2"/>
              </a:solidFill>
              <a:latin typeface="Iberia Text" charset="0"/>
              <a:ea typeface="Iberia Text" charset="0"/>
              <a:cs typeface="Iberia Text" charset="0"/>
            </a:endParaRPr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3FB0E2E7-353E-CF23-DB14-E2977650D6C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07882" y="6394711"/>
            <a:ext cx="24827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1C7195E9-957A-4842-9BE3-773A11A4BDF6}" type="slidenum">
              <a:rPr lang="es-ES" sz="1050" b="1" noProof="0" smtClean="0">
                <a:solidFill>
                  <a:schemeClr val="tx2"/>
                </a:solidFill>
                <a:latin typeface="Iberia Text" charset="0"/>
                <a:ea typeface="Iberia Text" charset="0"/>
                <a:cs typeface="Iberia Text" charset="0"/>
              </a:rPr>
              <a:pPr/>
              <a:t>‹#›</a:t>
            </a:fld>
            <a:endParaRPr lang="es-ES" sz="1050" b="1" noProof="0">
              <a:solidFill>
                <a:schemeClr val="tx2"/>
              </a:solidFill>
              <a:latin typeface="Iberia Text" charset="0"/>
              <a:ea typeface="Iberia Text" charset="0"/>
              <a:cs typeface="Iberia T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90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45A67D-2B6A-412F-A7EE-83B58CC47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5B7269-25A4-4F89-BC26-6DB4BED5D5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89192-11B5-4C0D-B6AD-FE1FFA8FFF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DBC91B-6322-48E3-85F0-015313269F55}" type="datetimeFigureOut">
              <a:rPr lang="en-GB" smtClean="0">
                <a:solidFill>
                  <a:srgbClr val="021B41">
                    <a:tint val="75000"/>
                  </a:srgbClr>
                </a:solidFill>
              </a:rPr>
              <a:pPr/>
              <a:t>09/11/2023</a:t>
            </a:fld>
            <a:endParaRPr lang="en-GB">
              <a:solidFill>
                <a:srgbClr val="021B41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FCFF77-F1C9-4575-B5E1-93D0E4DC9F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21B41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479815-8614-4333-BF5A-7B1101770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23C571-A94A-434E-9F91-D150001CF1C8}" type="slidenum">
              <a:rPr lang="en-GB" smtClean="0">
                <a:solidFill>
                  <a:srgbClr val="021B41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21B4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205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lius Modern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lius Modern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lius Modern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lius Modern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lius Modern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britishairways.com/information/passports-visas-and-api" TargetMode="External"/><Relationship Id="rId18" Type="http://schemas.openxmlformats.org/officeDocument/2006/relationships/hyperlink" Target="https://www.britishairways.com/traveltrade/bookings-policies/policies/disruption-notification" TargetMode="External"/><Relationship Id="rId26" Type="http://schemas.openxmlformats.org/officeDocument/2006/relationships/hyperlink" Target="https://www.britishairways.com/travel/customerportal/public" TargetMode="External"/><Relationship Id="rId39" Type="http://schemas.openxmlformats.org/officeDocument/2006/relationships/hyperlink" Target="https://www.britishairways.com/traveltrade/bookings-policies/ticketing/agent-discount-travel" TargetMode="External"/><Relationship Id="rId21" Type="http://schemas.openxmlformats.org/officeDocument/2006/relationships/hyperlink" Target="http://www.ba-groups.com/" TargetMode="External"/><Relationship Id="rId34" Type="http://schemas.openxmlformats.org/officeDocument/2006/relationships/hyperlink" Target="https://www.britishairways.com/traveltrade/knowledge-training/technology" TargetMode="External"/><Relationship Id="rId7" Type="http://schemas.openxmlformats.org/officeDocument/2006/relationships/hyperlink" Target="https://www.britishairways.com/traveltrade/bookings-policies/ticketing/ticketing-instructions" TargetMode="External"/><Relationship Id="rId2" Type="http://schemas.openxmlformats.org/officeDocument/2006/relationships/hyperlink" Target="https://www.britishairways.com/traveltrade" TargetMode="External"/><Relationship Id="rId16" Type="http://schemas.openxmlformats.org/officeDocument/2006/relationships/hyperlink" Target="https://www.britishairways.com/traveltrade/rtw-form" TargetMode="External"/><Relationship Id="rId20" Type="http://schemas.openxmlformats.org/officeDocument/2006/relationships/hyperlink" Target="https://www.britishairways.com/en-gb/information/baggage-essentials/lost-and-damaged-baggage" TargetMode="External"/><Relationship Id="rId29" Type="http://schemas.openxmlformats.org/officeDocument/2006/relationships/hyperlink" Target="https://www.britishairways.com/traveltrade/bookings-policies/special-assistance/assistance-dogs" TargetMode="Externa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britishairways.com/traveltrade/ticketing-authority" TargetMode="External"/><Relationship Id="rId11" Type="http://schemas.openxmlformats.org/officeDocument/2006/relationships/hyperlink" Target="https://www.britishairways.com/traveltrade/bookings-policies/ticketing/advance-passenger-info" TargetMode="External"/><Relationship Id="rId24" Type="http://schemas.openxmlformats.org/officeDocument/2006/relationships/hyperlink" Target="https://www.britishairways.com/travel/your-missing-baggage/public/yourmissingbaggage" TargetMode="External"/><Relationship Id="rId32" Type="http://schemas.openxmlformats.org/officeDocument/2006/relationships/hyperlink" Target="https://www.britishairways.com/traveltrade/loyalty/loyalty-programme" TargetMode="External"/><Relationship Id="rId37" Type="http://schemas.openxmlformats.org/officeDocument/2006/relationships/hyperlink" Target="https://www.britishairways.com/traveltrade/bookings-policies/policies/groups" TargetMode="External"/><Relationship Id="rId40" Type="http://schemas.openxmlformats.org/officeDocument/2006/relationships/hyperlink" Target="https://www.britishairways.com/assets/pdfs/updates/admpolicy.pdf" TargetMode="External"/><Relationship Id="rId5" Type="http://schemas.openxmlformats.org/officeDocument/2006/relationships/hyperlink" Target="https://www.britishairways.com/traveltrade/bookings-policies/ticketing/ticketing-authority" TargetMode="External"/><Relationship Id="rId15" Type="http://schemas.openxmlformats.org/officeDocument/2006/relationships/hyperlink" Target="https://www.britishairways.com/information/baggage-essentials/checked-baggage-allowances" TargetMode="External"/><Relationship Id="rId23" Type="http://schemas.openxmlformats.org/officeDocument/2006/relationships/hyperlink" Target="https://www.britishairways.com/traveltrade/bookings-policies/special-assistance/disability-assistance" TargetMode="External"/><Relationship Id="rId28" Type="http://schemas.openxmlformats.org/officeDocument/2006/relationships/hyperlink" Target="http://www.britishairways.com/cms/global/pdfs/health/BA_Medical_Information_Form.pdf" TargetMode="External"/><Relationship Id="rId36" Type="http://schemas.openxmlformats.org/officeDocument/2006/relationships/hyperlink" Target="https://www.britishairways.com/information/about-ba/ba-better-world" TargetMode="External"/><Relationship Id="rId10" Type="http://schemas.openxmlformats.org/officeDocument/2006/relationships/hyperlink" Target="https://www.britishairways.com/traveltrade/bookings-policies/changes/name-corrections" TargetMode="External"/><Relationship Id="rId19" Type="http://schemas.openxmlformats.org/officeDocument/2006/relationships/hyperlink" Target="https://www.britishairways.com/traveltrade/bookings-policies/policies/standard-customer-guidelines?clickpage=traveltrade--contact-forms--useful-forms&amp;kmtag=c&amp;ban=||WHY|1|LNK4|||||||||L2|||||||" TargetMode="External"/><Relationship Id="rId31" Type="http://schemas.openxmlformats.org/officeDocument/2006/relationships/hyperlink" Target="https://www.britishairways.com/traveltrade/product-information/product-information" TargetMode="External"/><Relationship Id="rId4" Type="http://schemas.openxmlformats.org/officeDocument/2006/relationships/hyperlink" Target="https://www.bacommnews.com/trade/subscribe/" TargetMode="External"/><Relationship Id="rId9" Type="http://schemas.openxmlformats.org/officeDocument/2006/relationships/hyperlink" Target="https://www.britishairways.com/traveltrade/bookings-policies/policies/seating" TargetMode="External"/><Relationship Id="rId14" Type="http://schemas.openxmlformats.org/officeDocument/2006/relationships/hyperlink" Target="https://www.britishairways.com/pricinghelpdesk/leisureissue/" TargetMode="External"/><Relationship Id="rId22" Type="http://schemas.openxmlformats.org/officeDocument/2006/relationships/hyperlink" Target="https://www.britishairways.com/traveltrade/refund-form" TargetMode="External"/><Relationship Id="rId27" Type="http://schemas.openxmlformats.org/officeDocument/2006/relationships/hyperlink" Target="https://www.britishairways.com/information/travel-assistance/medical-conditions-and-pregnancy#pregnant" TargetMode="External"/><Relationship Id="rId30" Type="http://schemas.openxmlformats.org/officeDocument/2006/relationships/hyperlink" Target="https://www.britishairways.com/information/travel-assistance/travelling-with-pets" TargetMode="External"/><Relationship Id="rId35" Type="http://schemas.openxmlformats.org/officeDocument/2006/relationships/hyperlink" Target="https://www.britishairways.com/traveltrade/bookings-policies/ticketing/longhaul-fares" TargetMode="External"/><Relationship Id="rId8" Type="http://schemas.openxmlformats.org/officeDocument/2006/relationships/hyperlink" Target="https://mediacentre.britishairways.com/" TargetMode="External"/><Relationship Id="rId3" Type="http://schemas.openxmlformats.org/officeDocument/2006/relationships/hyperlink" Target="https://www.britishairways.com/traveltrade/contact-forms/getting-in-touch" TargetMode="External"/><Relationship Id="rId12" Type="http://schemas.openxmlformats.org/officeDocument/2006/relationships/hyperlink" Target="https://www.britishairways.com/pricinghelpdesk/corporateissue/" TargetMode="External"/><Relationship Id="rId17" Type="http://schemas.openxmlformats.org/officeDocument/2006/relationships/hyperlink" Target="https://www.britishairways.com/traveltrade/bookings-policies/check-in/offloads" TargetMode="External"/><Relationship Id="rId25" Type="http://schemas.openxmlformats.org/officeDocument/2006/relationships/hyperlink" Target="https://www.britishairways.com/traveltrade/bookings-policies/special-assistance/medical-assistance" TargetMode="External"/><Relationship Id="rId33" Type="http://schemas.openxmlformats.org/officeDocument/2006/relationships/hyperlink" Target="https://www.britishairways.com/traveltrade/bookings-policies/ticketing/shorthaul-fares" TargetMode="External"/><Relationship Id="rId38" Type="http://schemas.openxmlformats.org/officeDocument/2006/relationships/hyperlink" Target="https://ba.chooose.today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3230B7-72A3-D045-ECD7-31609AC08B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397223"/>
              </p:ext>
            </p:extLst>
          </p:nvPr>
        </p:nvGraphicFramePr>
        <p:xfrm>
          <a:off x="483724" y="44478"/>
          <a:ext cx="11221375" cy="6376990"/>
        </p:xfrm>
        <a:graphic>
          <a:graphicData uri="http://schemas.openxmlformats.org/drawingml/2006/table">
            <a:tbl>
              <a:tblPr/>
              <a:tblGrid>
                <a:gridCol w="3624833">
                  <a:extLst>
                    <a:ext uri="{9D8B030D-6E8A-4147-A177-3AD203B41FA5}">
                      <a16:colId xmlns:a16="http://schemas.microsoft.com/office/drawing/2014/main" val="1973863428"/>
                    </a:ext>
                  </a:extLst>
                </a:gridCol>
                <a:gridCol w="199453">
                  <a:extLst>
                    <a:ext uri="{9D8B030D-6E8A-4147-A177-3AD203B41FA5}">
                      <a16:colId xmlns:a16="http://schemas.microsoft.com/office/drawing/2014/main" val="2073396058"/>
                    </a:ext>
                  </a:extLst>
                </a:gridCol>
                <a:gridCol w="3676865">
                  <a:extLst>
                    <a:ext uri="{9D8B030D-6E8A-4147-A177-3AD203B41FA5}">
                      <a16:colId xmlns:a16="http://schemas.microsoft.com/office/drawing/2014/main" val="625418387"/>
                    </a:ext>
                  </a:extLst>
                </a:gridCol>
                <a:gridCol w="199453">
                  <a:extLst>
                    <a:ext uri="{9D8B030D-6E8A-4147-A177-3AD203B41FA5}">
                      <a16:colId xmlns:a16="http://schemas.microsoft.com/office/drawing/2014/main" val="419015355"/>
                    </a:ext>
                  </a:extLst>
                </a:gridCol>
                <a:gridCol w="3520771">
                  <a:extLst>
                    <a:ext uri="{9D8B030D-6E8A-4147-A177-3AD203B41FA5}">
                      <a16:colId xmlns:a16="http://schemas.microsoft.com/office/drawing/2014/main" val="3947918854"/>
                    </a:ext>
                  </a:extLst>
                </a:gridCol>
              </a:tblGrid>
              <a:tr h="16196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023608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962696"/>
                  </a:ext>
                </a:extLst>
              </a:tr>
              <a:tr h="26436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8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9972951"/>
                  </a:ext>
                </a:extLst>
              </a:tr>
              <a:tr h="26436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w can we help you ?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rth America &amp; Canada 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669405"/>
                  </a:ext>
                </a:extLst>
              </a:tr>
              <a:tr h="178595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397152"/>
                  </a:ext>
                </a:extLst>
              </a:tr>
              <a:tr h="178595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497975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&amp; HELP ONLINE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FUL CONTACT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INE FORM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162922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4269992"/>
                  </a:ext>
                </a:extLst>
              </a:tr>
              <a:tr h="20561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ritish Airways Trade Support - Home</a:t>
                      </a:r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rade Support Contact</a:t>
                      </a:r>
                      <a:endParaRPr lang="en-GB" sz="1400" b="1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y up to date!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0578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gistration Newsletter, latest news, flight cancellation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5409790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eneral Conditions of sale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 &amp; IB Trade Help Desk Plus (THD+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pplication for ticketing authority (Ticketing Authority)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65726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otes for ticketing &amp; change of reservation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 / 7 Sales Support (Weekends &amp; Holidays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ritish Airways | Media Centre</a:t>
                      </a:r>
                      <a:endParaRPr lang="en-GB" sz="1100" b="0" i="0" u="sng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9825590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at reservation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1452869"/>
                  </a:ext>
                </a:extLst>
              </a:tr>
              <a:tr h="17624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ame change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☎ BA from US: </a:t>
                      </a:r>
                      <a:r>
                        <a:rPr lang="en-GB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+1 833 598 4843 </a:t>
                      </a:r>
                      <a:r>
                        <a:rPr lang="en-GB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 PIN  </a:t>
                      </a:r>
                      <a:r>
                        <a:rPr lang="en-GB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2959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res Quer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487405"/>
                  </a:ext>
                </a:extLst>
              </a:tr>
              <a:tr h="17624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dvance Passenger Information (APIS)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☎  BA from Canada</a:t>
                      </a:r>
                      <a:r>
                        <a:rPr lang="pt-BR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 +1 833-397-0694  </a:t>
                      </a:r>
                      <a:r>
                        <a:rPr lang="pt-BR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 PIN  </a:t>
                      </a:r>
                      <a:r>
                        <a:rPr lang="pt-BR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2959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rporate Fare Issue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12997"/>
                  </a:ext>
                </a:extLst>
              </a:tr>
              <a:tr h="17624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assports, visas and API information (ba.com)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☎ For IB: +</a:t>
                      </a:r>
                      <a:r>
                        <a:rPr lang="en-GB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800 574 8742 </a:t>
                      </a:r>
                      <a:r>
                        <a:rPr lang="en-GB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o PIN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isure Fare Issue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1848140"/>
                  </a:ext>
                </a:extLst>
              </a:tr>
              <a:tr h="17624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abin and checked baggage allowance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mail</a:t>
                      </a:r>
                      <a:r>
                        <a:rPr lang="fr-FR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trade.support@email.ba.com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quest or change Round the World fare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379472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ffloads Passenger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781655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otifications of flight cancellations (customer contact data)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6761488"/>
                  </a:ext>
                </a:extLst>
              </a:tr>
              <a:tr h="32311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1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ustomer guidelines in the event of disruptions to flight operation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up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 reques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234740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layed, damaged or lost baggage </a:t>
                      </a:r>
                      <a:endParaRPr lang="en-GB" sz="1100" b="0" i="0" u="sng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a-groups.com</a:t>
                      </a:r>
                      <a:endParaRPr lang="en-GB" sz="1100" b="0" i="0" u="sng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quest for refund</a:t>
                      </a:r>
                      <a:endParaRPr lang="en-GB" sz="1100" b="1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1660717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pport in the event of disability and reduced mobility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ost Baggage Status Request </a:t>
                      </a:r>
                      <a:endParaRPr lang="en-GB" sz="1100" b="1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73627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edical certificate / clearance certificate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ecutive Club / On Busines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U Legislation Claim Form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8954319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 dirty="0">
                          <a:solidFill>
                            <a:srgbClr val="2369A7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ravelling when you're pregnant</a:t>
                      </a:r>
                      <a:endParaRPr lang="en-GB" sz="1100" b="0" i="0" u="sng" strike="noStrike" dirty="0">
                        <a:solidFill>
                          <a:srgbClr val="2369A7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1 (800) 452 1201 (from the US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edical clearance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874452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2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ssistance dog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1 (800) 247 9297 (outside the USA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1140087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ravelling with pet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x: +1 212 251 676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s Useful link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054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7436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formation about our products &amp; service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-Sun 0730 to 2000 (EST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equent Flyer Programm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4641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n Business &amp; Executive Club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5914270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iff inform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r Partner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0549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1591922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DS entries &amp; information on short-haul fare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beria helpdesk </a:t>
                      </a:r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+1 (800) 574 8742</a:t>
                      </a:r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echnology and innovation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8093932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DS entries &amp; information on long haul fare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pan Airlines</a:t>
                      </a:r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+44 207 618 3261</a:t>
                      </a:r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rporate environmental responsibility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043183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roup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nair Support</a:t>
                      </a:r>
                      <a:r>
                        <a:rPr lang="fr-FR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+44 207 514 2400</a:t>
                      </a:r>
                      <a:endParaRPr lang="fr-FR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alculate the Carbon Footprint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9452195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AG shares </a:t>
                      </a:r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44 208 564 2800</a:t>
                      </a:r>
                      <a:endParaRPr lang="en-GB" sz="11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3639173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M Questions/Dispute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3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gency discount tickets 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635650"/>
                  </a:ext>
                </a:extLst>
              </a:tr>
              <a:tr h="1619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sng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  <a:hlinkClick r:id="rId4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DM policies</a:t>
                      </a:r>
                      <a:endParaRPr lang="en-GB" sz="1100" b="0" i="0" u="sng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100" b="0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4758136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D81735E-A0BF-4832-A8AD-15E4EF4C7556}"/>
              </a:ext>
            </a:extLst>
          </p:cNvPr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10" y="436532"/>
            <a:ext cx="3579909" cy="51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622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eria Portadas">
  <a:themeElements>
    <a:clrScheme name="Iberia Color 1">
      <a:dk1>
        <a:srgbClr val="000000"/>
      </a:dk1>
      <a:lt1>
        <a:srgbClr val="FFFFFF"/>
      </a:lt1>
      <a:dk2>
        <a:srgbClr val="D7192C"/>
      </a:dk2>
      <a:lt2>
        <a:srgbClr val="E1DBD3"/>
      </a:lt2>
      <a:accent1>
        <a:srgbClr val="D7192C"/>
      </a:accent1>
      <a:accent2>
        <a:srgbClr val="FCD100"/>
      </a:accent2>
      <a:accent3>
        <a:srgbClr val="A80E1F"/>
      </a:accent3>
      <a:accent4>
        <a:srgbClr val="EC6B00"/>
      </a:accent4>
      <a:accent5>
        <a:srgbClr val="F9AA1B"/>
      </a:accent5>
      <a:accent6>
        <a:srgbClr val="595147"/>
      </a:accent6>
      <a:hlink>
        <a:srgbClr val="A39382"/>
      </a:hlink>
      <a:folHlink>
        <a:srgbClr val="C5B971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80615_Iberia Plantilla_H_Lema" id="{E5179471-67FF-40F4-8B87-F55CA068EB46}" vid="{A4013CEE-26A1-444F-B0A7-C55FAA758BA8}"/>
    </a:ext>
  </a:extLst>
</a:theme>
</file>

<file path=ppt/theme/theme2.xml><?xml version="1.0" encoding="utf-8"?>
<a:theme xmlns:a="http://schemas.openxmlformats.org/drawingml/2006/main" name="Iberia Portadas">
  <a:themeElements>
    <a:clrScheme name="Iberia Color 1">
      <a:dk1>
        <a:srgbClr val="000000"/>
      </a:dk1>
      <a:lt1>
        <a:srgbClr val="FFFFFF"/>
      </a:lt1>
      <a:dk2>
        <a:srgbClr val="D7192C"/>
      </a:dk2>
      <a:lt2>
        <a:srgbClr val="E1DBD3"/>
      </a:lt2>
      <a:accent1>
        <a:srgbClr val="D7192C"/>
      </a:accent1>
      <a:accent2>
        <a:srgbClr val="FCD100"/>
      </a:accent2>
      <a:accent3>
        <a:srgbClr val="A80E1F"/>
      </a:accent3>
      <a:accent4>
        <a:srgbClr val="EC6B00"/>
      </a:accent4>
      <a:accent5>
        <a:srgbClr val="F9AA1B"/>
      </a:accent5>
      <a:accent6>
        <a:srgbClr val="595147"/>
      </a:accent6>
      <a:hlink>
        <a:srgbClr val="A39382"/>
      </a:hlink>
      <a:folHlink>
        <a:srgbClr val="C5B971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80615_Iberia Plantilla_H_Lema" id="{E5179471-67FF-40F4-8B87-F55CA068EB46}" vid="{A4013CEE-26A1-444F-B0A7-C55FAA758BA8}"/>
    </a:ext>
  </a:extLst>
</a:theme>
</file>

<file path=ppt/theme/theme3.xml><?xml version="1.0" encoding="utf-8"?>
<a:theme xmlns:a="http://schemas.openxmlformats.org/drawingml/2006/main" name="1_GS Template - May 2021">
  <a:themeElements>
    <a:clrScheme name="BA Global Sales Theme">
      <a:dk1>
        <a:srgbClr val="021B41"/>
      </a:dk1>
      <a:lt1>
        <a:sysClr val="window" lastClr="FFFFFF"/>
      </a:lt1>
      <a:dk2>
        <a:srgbClr val="2E5C99"/>
      </a:dk2>
      <a:lt2>
        <a:srgbClr val="E0E0E0"/>
      </a:lt2>
      <a:accent1>
        <a:srgbClr val="A6C3E0"/>
      </a:accent1>
      <a:accent2>
        <a:srgbClr val="999999"/>
      </a:accent2>
      <a:accent3>
        <a:srgbClr val="8F826C"/>
      </a:accent3>
      <a:accent4>
        <a:srgbClr val="CE210F"/>
      </a:accent4>
      <a:accent5>
        <a:srgbClr val="5B9BD5"/>
      </a:accent5>
      <a:accent6>
        <a:srgbClr val="ED7D31"/>
      </a:accent6>
      <a:hlink>
        <a:srgbClr val="A6C3E0"/>
      </a:hlink>
      <a:folHlink>
        <a:srgbClr val="FFFFFF"/>
      </a:folHlink>
    </a:clrScheme>
    <a:fontScheme name="BA Global Sales">
      <a:majorFont>
        <a:latin typeface="Mylius Modern"/>
        <a:ea typeface=""/>
        <a:cs typeface=""/>
      </a:majorFont>
      <a:minorFont>
        <a:latin typeface="Mylius Moder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S Template - May 2021" id="{4DC89CB8-7751-4BCA-8B62-33FCC7170985}" vid="{38342775-6A19-4941-A863-40BF71CB4A5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45</TotalTime>
  <Words>428</Words>
  <Application>Microsoft Office PowerPoint</Application>
  <PresentationFormat>Custom</PresentationFormat>
  <Paragraphs>12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alibri Light</vt:lpstr>
      <vt:lpstr>Helvetica Light</vt:lpstr>
      <vt:lpstr>Iberia Text</vt:lpstr>
      <vt:lpstr>Mylius Modern</vt:lpstr>
      <vt:lpstr>Mylius Modern Light</vt:lpstr>
      <vt:lpstr>Iberia Portadas</vt:lpstr>
      <vt:lpstr>Iberia Portadas</vt:lpstr>
      <vt:lpstr>1_GS Template - May 2021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adley, Mike</dc:creator>
  <cp:lastModifiedBy>Xi Chang</cp:lastModifiedBy>
  <cp:revision>7</cp:revision>
  <dcterms:created xsi:type="dcterms:W3CDTF">2020-12-01T15:05:21Z</dcterms:created>
  <dcterms:modified xsi:type="dcterms:W3CDTF">2023-11-09T23:25:46Z</dcterms:modified>
</cp:coreProperties>
</file>